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9"/>
  </p:notesMasterIdLst>
  <p:sldIdLst>
    <p:sldId id="287" r:id="rId3"/>
    <p:sldId id="2145706122" r:id="rId4"/>
    <p:sldId id="2145706131" r:id="rId5"/>
    <p:sldId id="2145706123" r:id="rId6"/>
    <p:sldId id="2145706126" r:id="rId7"/>
    <p:sldId id="214570613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za Aditya Permadi" initials="RAP" lastIdx="2" clrIdx="0">
    <p:extLst>
      <p:ext uri="{19B8F6BF-5375-455C-9EA6-DF929625EA0E}">
        <p15:presenceInfo xmlns:p15="http://schemas.microsoft.com/office/powerpoint/2012/main" userId="S::reza_a_permadi1@telkomsel.co.id::8f5c1634-8cc8-4713-b273-7913439e7e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F4FD61-6BC2-45E4-BD5D-FA3C30DE13E5}" v="1" dt="2023-01-30T02:08:09.6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anley_d_chandra" userId="225be5a7-1db9-44a8-89af-0b6971124d26" providerId="ADAL" clId="{17F2E645-90E8-4746-8F70-CC92FB6FDD58}"/>
    <pc:docChg chg="undo custSel modSld">
      <pc:chgData name="stanley_d_chandra" userId="225be5a7-1db9-44a8-89af-0b6971124d26" providerId="ADAL" clId="{17F2E645-90E8-4746-8F70-CC92FB6FDD58}" dt="2023-01-17T06:45:11.286" v="112" actId="2711"/>
      <pc:docMkLst>
        <pc:docMk/>
      </pc:docMkLst>
      <pc:sldChg chg="addSp delSp modSp mod">
        <pc:chgData name="stanley_d_chandra" userId="225be5a7-1db9-44a8-89af-0b6971124d26" providerId="ADAL" clId="{17F2E645-90E8-4746-8F70-CC92FB6FDD58}" dt="2023-01-11T07:15:03.440" v="4" actId="478"/>
        <pc:sldMkLst>
          <pc:docMk/>
          <pc:sldMk cId="119898235" sldId="2145706125"/>
        </pc:sldMkLst>
        <pc:spChg chg="mod">
          <ac:chgData name="stanley_d_chandra" userId="225be5a7-1db9-44a8-89af-0b6971124d26" providerId="ADAL" clId="{17F2E645-90E8-4746-8F70-CC92FB6FDD58}" dt="2023-01-11T07:04:32.830" v="2" actId="120"/>
          <ac:spMkLst>
            <pc:docMk/>
            <pc:sldMk cId="119898235" sldId="2145706125"/>
            <ac:spMk id="2" creationId="{068114BB-F72F-2949-AF79-ACB2CCCADD59}"/>
          </ac:spMkLst>
        </pc:spChg>
        <pc:graphicFrameChg chg="add del">
          <ac:chgData name="stanley_d_chandra" userId="225be5a7-1db9-44a8-89af-0b6971124d26" providerId="ADAL" clId="{17F2E645-90E8-4746-8F70-CC92FB6FDD58}" dt="2023-01-11T07:15:03.440" v="4" actId="478"/>
          <ac:graphicFrameMkLst>
            <pc:docMk/>
            <pc:sldMk cId="119898235" sldId="2145706125"/>
            <ac:graphicFrameMk id="3" creationId="{93DC2A55-F43C-EBF3-7498-928033883918}"/>
          </ac:graphicFrameMkLst>
        </pc:graphicFrameChg>
      </pc:sldChg>
      <pc:sldChg chg="modSp mod">
        <pc:chgData name="stanley_d_chandra" userId="225be5a7-1db9-44a8-89af-0b6971124d26" providerId="ADAL" clId="{17F2E645-90E8-4746-8F70-CC92FB6FDD58}" dt="2023-01-17T06:37:01.612" v="94" actId="122"/>
        <pc:sldMkLst>
          <pc:docMk/>
          <pc:sldMk cId="2837786506" sldId="2145706126"/>
        </pc:sldMkLst>
        <pc:graphicFrameChg chg="modGraphic">
          <ac:chgData name="stanley_d_chandra" userId="225be5a7-1db9-44a8-89af-0b6971124d26" providerId="ADAL" clId="{17F2E645-90E8-4746-8F70-CC92FB6FDD58}" dt="2023-01-17T06:37:01.612" v="94" actId="122"/>
          <ac:graphicFrameMkLst>
            <pc:docMk/>
            <pc:sldMk cId="2837786506" sldId="2145706126"/>
            <ac:graphicFrameMk id="2" creationId="{7A046C48-1ED3-2343-9301-CD835C857ED7}"/>
          </ac:graphicFrameMkLst>
        </pc:graphicFrameChg>
      </pc:sldChg>
      <pc:sldChg chg="modSp mod">
        <pc:chgData name="stanley_d_chandra" userId="225be5a7-1db9-44a8-89af-0b6971124d26" providerId="ADAL" clId="{17F2E645-90E8-4746-8F70-CC92FB6FDD58}" dt="2023-01-17T06:45:11.286" v="112" actId="2711"/>
        <pc:sldMkLst>
          <pc:docMk/>
          <pc:sldMk cId="361532905" sldId="2145706127"/>
        </pc:sldMkLst>
        <pc:spChg chg="mod">
          <ac:chgData name="stanley_d_chandra" userId="225be5a7-1db9-44a8-89af-0b6971124d26" providerId="ADAL" clId="{17F2E645-90E8-4746-8F70-CC92FB6FDD58}" dt="2023-01-17T06:42:38.663" v="110" actId="1076"/>
          <ac:spMkLst>
            <pc:docMk/>
            <pc:sldMk cId="361532905" sldId="2145706127"/>
            <ac:spMk id="14" creationId="{F3B417FB-5B72-DA42-8FF6-38DD7190CF43}"/>
          </ac:spMkLst>
        </pc:spChg>
        <pc:graphicFrameChg chg="modGraphic">
          <ac:chgData name="stanley_d_chandra" userId="225be5a7-1db9-44a8-89af-0b6971124d26" providerId="ADAL" clId="{17F2E645-90E8-4746-8F70-CC92FB6FDD58}" dt="2023-01-17T06:45:11.286" v="112" actId="2711"/>
          <ac:graphicFrameMkLst>
            <pc:docMk/>
            <pc:sldMk cId="361532905" sldId="2145706127"/>
            <ac:graphicFrameMk id="2" creationId="{29182CCA-BECB-4C86-B849-878A6285AB2D}"/>
          </ac:graphicFrameMkLst>
        </pc:graphicFrameChg>
      </pc:sldChg>
      <pc:sldChg chg="modSp mod">
        <pc:chgData name="stanley_d_chandra" userId="225be5a7-1db9-44a8-89af-0b6971124d26" providerId="ADAL" clId="{17F2E645-90E8-4746-8F70-CC92FB6FDD58}" dt="2023-01-11T06:50:54.934" v="1" actId="1076"/>
        <pc:sldMkLst>
          <pc:docMk/>
          <pc:sldMk cId="435886860" sldId="2145706131"/>
        </pc:sldMkLst>
        <pc:picChg chg="mod">
          <ac:chgData name="stanley_d_chandra" userId="225be5a7-1db9-44a8-89af-0b6971124d26" providerId="ADAL" clId="{17F2E645-90E8-4746-8F70-CC92FB6FDD58}" dt="2023-01-11T06:50:54.934" v="1" actId="1076"/>
          <ac:picMkLst>
            <pc:docMk/>
            <pc:sldMk cId="435886860" sldId="2145706131"/>
            <ac:picMk id="4" creationId="{AA9FEF1D-BE6C-114F-9D68-E5ECC40F0BE0}"/>
          </ac:picMkLst>
        </pc:picChg>
      </pc:sldChg>
      <pc:sldChg chg="addSp delSp modSp mod">
        <pc:chgData name="stanley_d_chandra" userId="225be5a7-1db9-44a8-89af-0b6971124d26" providerId="ADAL" clId="{17F2E645-90E8-4746-8F70-CC92FB6FDD58}" dt="2023-01-17T03:29:00.722" v="30" actId="1076"/>
        <pc:sldMkLst>
          <pc:docMk/>
          <pc:sldMk cId="525386504" sldId="2145706132"/>
        </pc:sldMkLst>
        <pc:spChg chg="del">
          <ac:chgData name="stanley_d_chandra" userId="225be5a7-1db9-44a8-89af-0b6971124d26" providerId="ADAL" clId="{17F2E645-90E8-4746-8F70-CC92FB6FDD58}" dt="2023-01-17T03:28:52.504" v="28" actId="478"/>
          <ac:spMkLst>
            <pc:docMk/>
            <pc:sldMk cId="525386504" sldId="2145706132"/>
            <ac:spMk id="2" creationId="{D4F95FE7-7FB2-234E-8FED-68D811A96D24}"/>
          </ac:spMkLst>
        </pc:spChg>
        <pc:spChg chg="add mod">
          <ac:chgData name="stanley_d_chandra" userId="225be5a7-1db9-44a8-89af-0b6971124d26" providerId="ADAL" clId="{17F2E645-90E8-4746-8F70-CC92FB6FDD58}" dt="2023-01-17T03:29:00.722" v="30" actId="1076"/>
          <ac:spMkLst>
            <pc:docMk/>
            <pc:sldMk cId="525386504" sldId="2145706132"/>
            <ac:spMk id="3" creationId="{D320D635-313B-C8BF-C5E0-255B52E1EC2A}"/>
          </ac:spMkLst>
        </pc:spChg>
        <pc:spChg chg="add del mod">
          <ac:chgData name="stanley_d_chandra" userId="225be5a7-1db9-44a8-89af-0b6971124d26" providerId="ADAL" clId="{17F2E645-90E8-4746-8F70-CC92FB6FDD58}" dt="2023-01-17T03:28:54.190" v="29" actId="478"/>
          <ac:spMkLst>
            <pc:docMk/>
            <pc:sldMk cId="525386504" sldId="2145706132"/>
            <ac:spMk id="5" creationId="{6BA30099-EF61-68F1-D616-B48E2AA1134B}"/>
          </ac:spMkLst>
        </pc:spChg>
      </pc:sldChg>
      <pc:sldChg chg="addSp delSp modSp mod">
        <pc:chgData name="stanley_d_chandra" userId="225be5a7-1db9-44a8-89af-0b6971124d26" providerId="ADAL" clId="{17F2E645-90E8-4746-8F70-CC92FB6FDD58}" dt="2023-01-17T03:31:30.383" v="58" actId="1076"/>
        <pc:sldMkLst>
          <pc:docMk/>
          <pc:sldMk cId="1059088430" sldId="2145706133"/>
        </pc:sldMkLst>
        <pc:spChg chg="del">
          <ac:chgData name="stanley_d_chandra" userId="225be5a7-1db9-44a8-89af-0b6971124d26" providerId="ADAL" clId="{17F2E645-90E8-4746-8F70-CC92FB6FDD58}" dt="2023-01-17T03:31:06.366" v="55" actId="478"/>
          <ac:spMkLst>
            <pc:docMk/>
            <pc:sldMk cId="1059088430" sldId="2145706133"/>
            <ac:spMk id="2" creationId="{D4F95FE7-7FB2-234E-8FED-68D811A96D24}"/>
          </ac:spMkLst>
        </pc:spChg>
        <pc:spChg chg="add mod">
          <ac:chgData name="stanley_d_chandra" userId="225be5a7-1db9-44a8-89af-0b6971124d26" providerId="ADAL" clId="{17F2E645-90E8-4746-8F70-CC92FB6FDD58}" dt="2023-01-17T03:31:30.383" v="58" actId="1076"/>
          <ac:spMkLst>
            <pc:docMk/>
            <pc:sldMk cId="1059088430" sldId="2145706133"/>
            <ac:spMk id="4" creationId="{9EE5340D-A16D-26E2-1E84-D787C8E58FCC}"/>
          </ac:spMkLst>
        </pc:spChg>
        <pc:spChg chg="add del mod">
          <ac:chgData name="stanley_d_chandra" userId="225be5a7-1db9-44a8-89af-0b6971124d26" providerId="ADAL" clId="{17F2E645-90E8-4746-8F70-CC92FB6FDD58}" dt="2023-01-17T03:31:08.487" v="56" actId="478"/>
          <ac:spMkLst>
            <pc:docMk/>
            <pc:sldMk cId="1059088430" sldId="2145706133"/>
            <ac:spMk id="5" creationId="{2451F108-3CE8-E3A9-E873-4C2CA6B2B186}"/>
          </ac:spMkLst>
        </pc:spChg>
      </pc:sldChg>
      <pc:sldChg chg="addSp delSp modSp mod">
        <pc:chgData name="stanley_d_chandra" userId="225be5a7-1db9-44a8-89af-0b6971124d26" providerId="ADAL" clId="{17F2E645-90E8-4746-8F70-CC92FB6FDD58}" dt="2023-01-17T03:31:57.397" v="85" actId="20577"/>
        <pc:sldMkLst>
          <pc:docMk/>
          <pc:sldMk cId="619809436" sldId="2145706135"/>
        </pc:sldMkLst>
        <pc:spChg chg="add del mod">
          <ac:chgData name="stanley_d_chandra" userId="225be5a7-1db9-44a8-89af-0b6971124d26" providerId="ADAL" clId="{17F2E645-90E8-4746-8F70-CC92FB6FDD58}" dt="2023-01-17T03:31:51.446" v="75" actId="478"/>
          <ac:spMkLst>
            <pc:docMk/>
            <pc:sldMk cId="619809436" sldId="2145706135"/>
            <ac:spMk id="3" creationId="{AD63DC50-6226-AB5C-A8B5-52CAA266AAB3}"/>
          </ac:spMkLst>
        </pc:spChg>
        <pc:spChg chg="add mod">
          <ac:chgData name="stanley_d_chandra" userId="225be5a7-1db9-44a8-89af-0b6971124d26" providerId="ADAL" clId="{17F2E645-90E8-4746-8F70-CC92FB6FDD58}" dt="2023-01-17T03:31:57.397" v="85" actId="20577"/>
          <ac:spMkLst>
            <pc:docMk/>
            <pc:sldMk cId="619809436" sldId="2145706135"/>
            <ac:spMk id="6" creationId="{A2297C2C-D039-117F-57B1-B0AC24C7D1F9}"/>
          </ac:spMkLst>
        </pc:spChg>
        <pc:spChg chg="del">
          <ac:chgData name="stanley_d_chandra" userId="225be5a7-1db9-44a8-89af-0b6971124d26" providerId="ADAL" clId="{17F2E645-90E8-4746-8F70-CC92FB6FDD58}" dt="2023-01-17T03:31:49.245" v="74" actId="478"/>
          <ac:spMkLst>
            <pc:docMk/>
            <pc:sldMk cId="619809436" sldId="2145706135"/>
            <ac:spMk id="9" creationId="{B86471EF-A464-4DE1-9E7E-3697F08DE933}"/>
          </ac:spMkLst>
        </pc:spChg>
      </pc:sldChg>
      <pc:sldChg chg="addSp delSp modSp mod">
        <pc:chgData name="stanley_d_chandra" userId="225be5a7-1db9-44a8-89af-0b6971124d26" providerId="ADAL" clId="{17F2E645-90E8-4746-8F70-CC92FB6FDD58}" dt="2023-01-17T03:31:45.466" v="73" actId="20577"/>
        <pc:sldMkLst>
          <pc:docMk/>
          <pc:sldMk cId="249720516" sldId="2145706136"/>
        </pc:sldMkLst>
        <pc:spChg chg="del">
          <ac:chgData name="stanley_d_chandra" userId="225be5a7-1db9-44a8-89af-0b6971124d26" providerId="ADAL" clId="{17F2E645-90E8-4746-8F70-CC92FB6FDD58}" dt="2023-01-17T03:31:36.244" v="59" actId="478"/>
          <ac:spMkLst>
            <pc:docMk/>
            <pc:sldMk cId="249720516" sldId="2145706136"/>
            <ac:spMk id="2" creationId="{D4F95FE7-7FB2-234E-8FED-68D811A96D24}"/>
          </ac:spMkLst>
        </pc:spChg>
        <pc:spChg chg="add del mod">
          <ac:chgData name="stanley_d_chandra" userId="225be5a7-1db9-44a8-89af-0b6971124d26" providerId="ADAL" clId="{17F2E645-90E8-4746-8F70-CC92FB6FDD58}" dt="2023-01-17T03:31:40.846" v="60" actId="478"/>
          <ac:spMkLst>
            <pc:docMk/>
            <pc:sldMk cId="249720516" sldId="2145706136"/>
            <ac:spMk id="4" creationId="{BB1FBA10-B745-1207-89C4-1C4A80013146}"/>
          </ac:spMkLst>
        </pc:spChg>
        <pc:spChg chg="add mod">
          <ac:chgData name="stanley_d_chandra" userId="225be5a7-1db9-44a8-89af-0b6971124d26" providerId="ADAL" clId="{17F2E645-90E8-4746-8F70-CC92FB6FDD58}" dt="2023-01-17T03:31:45.466" v="73" actId="20577"/>
          <ac:spMkLst>
            <pc:docMk/>
            <pc:sldMk cId="249720516" sldId="2145706136"/>
            <ac:spMk id="6" creationId="{94A6D191-369C-FD84-D84F-CE8461FDDB21}"/>
          </ac:spMkLst>
        </pc:spChg>
      </pc:sldChg>
    </pc:docChg>
  </pc:docChgLst>
  <pc:docChgLst>
    <pc:chgData name="stanley_d_chandra" userId="225be5a7-1db9-44a8-89af-0b6971124d26" providerId="ADAL" clId="{2CF4FD61-6BC2-45E4-BD5D-FA3C30DE13E5}"/>
    <pc:docChg chg="undo custSel addSld delSld modSld">
      <pc:chgData name="stanley_d_chandra" userId="225be5a7-1db9-44a8-89af-0b6971124d26" providerId="ADAL" clId="{2CF4FD61-6BC2-45E4-BD5D-FA3C30DE13E5}" dt="2023-01-30T02:14:13.814" v="135" actId="14100"/>
      <pc:docMkLst>
        <pc:docMk/>
      </pc:docMkLst>
      <pc:sldChg chg="delSp modSp mod">
        <pc:chgData name="stanley_d_chandra" userId="225be5a7-1db9-44a8-89af-0b6971124d26" providerId="ADAL" clId="{2CF4FD61-6BC2-45E4-BD5D-FA3C30DE13E5}" dt="2023-01-30T02:01:32.308" v="88" actId="20577"/>
        <pc:sldMkLst>
          <pc:docMk/>
          <pc:sldMk cId="1452811939" sldId="287"/>
        </pc:sldMkLst>
        <pc:spChg chg="mod">
          <ac:chgData name="stanley_d_chandra" userId="225be5a7-1db9-44a8-89af-0b6971124d26" providerId="ADAL" clId="{2CF4FD61-6BC2-45E4-BD5D-FA3C30DE13E5}" dt="2023-01-30T02:01:32.308" v="88" actId="20577"/>
          <ac:spMkLst>
            <pc:docMk/>
            <pc:sldMk cId="1452811939" sldId="287"/>
            <ac:spMk id="7" creationId="{BB3CCCF6-DAD9-472F-B343-23533D8EFD10}"/>
          </ac:spMkLst>
        </pc:spChg>
        <pc:picChg chg="del">
          <ac:chgData name="stanley_d_chandra" userId="225be5a7-1db9-44a8-89af-0b6971124d26" providerId="ADAL" clId="{2CF4FD61-6BC2-45E4-BD5D-FA3C30DE13E5}" dt="2023-01-30T01:58:16.166" v="8" actId="478"/>
          <ac:picMkLst>
            <pc:docMk/>
            <pc:sldMk cId="1452811939" sldId="287"/>
            <ac:picMk id="11" creationId="{14BE3A98-DFC2-1043-A129-60FDCB98233A}"/>
          </ac:picMkLst>
        </pc:picChg>
      </pc:sldChg>
      <pc:sldChg chg="delSp mod">
        <pc:chgData name="stanley_d_chandra" userId="225be5a7-1db9-44a8-89af-0b6971124d26" providerId="ADAL" clId="{2CF4FD61-6BC2-45E4-BD5D-FA3C30DE13E5}" dt="2023-01-30T01:58:18.096" v="9" actId="478"/>
        <pc:sldMkLst>
          <pc:docMk/>
          <pc:sldMk cId="907337182" sldId="2145706122"/>
        </pc:sldMkLst>
        <pc:picChg chg="del">
          <ac:chgData name="stanley_d_chandra" userId="225be5a7-1db9-44a8-89af-0b6971124d26" providerId="ADAL" clId="{2CF4FD61-6BC2-45E4-BD5D-FA3C30DE13E5}" dt="2023-01-30T01:58:18.096" v="9" actId="478"/>
          <ac:picMkLst>
            <pc:docMk/>
            <pc:sldMk cId="907337182" sldId="2145706122"/>
            <ac:picMk id="61" creationId="{251B6851-F656-FE48-AA5F-F4490BE5744A}"/>
          </ac:picMkLst>
        </pc:picChg>
      </pc:sldChg>
      <pc:sldChg chg="addSp delSp modSp mod">
        <pc:chgData name="stanley_d_chandra" userId="225be5a7-1db9-44a8-89af-0b6971124d26" providerId="ADAL" clId="{2CF4FD61-6BC2-45E4-BD5D-FA3C30DE13E5}" dt="2023-01-30T02:14:04.254" v="131" actId="1076"/>
        <pc:sldMkLst>
          <pc:docMk/>
          <pc:sldMk cId="857669880" sldId="2145706123"/>
        </pc:sldMkLst>
        <pc:spChg chg="add del ord">
          <ac:chgData name="stanley_d_chandra" userId="225be5a7-1db9-44a8-89af-0b6971124d26" providerId="ADAL" clId="{2CF4FD61-6BC2-45E4-BD5D-FA3C30DE13E5}" dt="2023-01-30T02:13:55.474" v="129" actId="478"/>
          <ac:spMkLst>
            <pc:docMk/>
            <pc:sldMk cId="857669880" sldId="2145706123"/>
            <ac:spMk id="3" creationId="{666B77DD-4481-E818-250C-05A58446626D}"/>
          </ac:spMkLst>
        </pc:spChg>
        <pc:spChg chg="ord">
          <ac:chgData name="stanley_d_chandra" userId="225be5a7-1db9-44a8-89af-0b6971124d26" providerId="ADAL" clId="{2CF4FD61-6BC2-45E4-BD5D-FA3C30DE13E5}" dt="2023-01-30T02:13:53.421" v="128" actId="167"/>
          <ac:spMkLst>
            <pc:docMk/>
            <pc:sldMk cId="857669880" sldId="2145706123"/>
            <ac:spMk id="5" creationId="{83F96127-B5C3-2141-A3DC-F32F6758C1B8}"/>
          </ac:spMkLst>
        </pc:spChg>
        <pc:picChg chg="del">
          <ac:chgData name="stanley_d_chandra" userId="225be5a7-1db9-44a8-89af-0b6971124d26" providerId="ADAL" clId="{2CF4FD61-6BC2-45E4-BD5D-FA3C30DE13E5}" dt="2023-01-30T02:11:03.551" v="100" actId="478"/>
          <ac:picMkLst>
            <pc:docMk/>
            <pc:sldMk cId="857669880" sldId="2145706123"/>
            <ac:picMk id="4" creationId="{CD6B2FF1-D3DF-154F-9684-015F2FDB4668}"/>
          </ac:picMkLst>
        </pc:picChg>
        <pc:picChg chg="add mod">
          <ac:chgData name="stanley_d_chandra" userId="225be5a7-1db9-44a8-89af-0b6971124d26" providerId="ADAL" clId="{2CF4FD61-6BC2-45E4-BD5D-FA3C30DE13E5}" dt="2023-01-30T02:14:04.254" v="131" actId="1076"/>
          <ac:picMkLst>
            <pc:docMk/>
            <pc:sldMk cId="857669880" sldId="2145706123"/>
            <ac:picMk id="6" creationId="{5F0F0A46-AADB-35F9-6F1B-FAD8563BEF45}"/>
          </ac:picMkLst>
        </pc:picChg>
        <pc:picChg chg="del">
          <ac:chgData name="stanley_d_chandra" userId="225be5a7-1db9-44a8-89af-0b6971124d26" providerId="ADAL" clId="{2CF4FD61-6BC2-45E4-BD5D-FA3C30DE13E5}" dt="2023-01-30T01:58:21.674" v="11" actId="478"/>
          <ac:picMkLst>
            <pc:docMk/>
            <pc:sldMk cId="857669880" sldId="2145706123"/>
            <ac:picMk id="61" creationId="{251B6851-F656-FE48-AA5F-F4490BE5744A}"/>
          </ac:picMkLst>
        </pc:picChg>
      </pc:sldChg>
      <pc:sldChg chg="del">
        <pc:chgData name="stanley_d_chandra" userId="225be5a7-1db9-44a8-89af-0b6971124d26" providerId="ADAL" clId="{2CF4FD61-6BC2-45E4-BD5D-FA3C30DE13E5}" dt="2023-01-30T01:58:01.174" v="5" actId="47"/>
        <pc:sldMkLst>
          <pc:docMk/>
          <pc:sldMk cId="119898235" sldId="2145706125"/>
        </pc:sldMkLst>
      </pc:sldChg>
      <pc:sldChg chg="delSp modSp add del mod">
        <pc:chgData name="stanley_d_chandra" userId="225be5a7-1db9-44a8-89af-0b6971124d26" providerId="ADAL" clId="{2CF4FD61-6BC2-45E4-BD5D-FA3C30DE13E5}" dt="2023-01-30T02:11:40.973" v="112" actId="207"/>
        <pc:sldMkLst>
          <pc:docMk/>
          <pc:sldMk cId="2837786506" sldId="2145706126"/>
        </pc:sldMkLst>
        <pc:graphicFrameChg chg="modGraphic">
          <ac:chgData name="stanley_d_chandra" userId="225be5a7-1db9-44a8-89af-0b6971124d26" providerId="ADAL" clId="{2CF4FD61-6BC2-45E4-BD5D-FA3C30DE13E5}" dt="2023-01-30T02:11:40.973" v="112" actId="207"/>
          <ac:graphicFrameMkLst>
            <pc:docMk/>
            <pc:sldMk cId="2837786506" sldId="2145706126"/>
            <ac:graphicFrameMk id="2" creationId="{7A046C48-1ED3-2343-9301-CD835C857ED7}"/>
          </ac:graphicFrameMkLst>
        </pc:graphicFrameChg>
        <pc:picChg chg="del">
          <ac:chgData name="stanley_d_chandra" userId="225be5a7-1db9-44a8-89af-0b6971124d26" providerId="ADAL" clId="{2CF4FD61-6BC2-45E4-BD5D-FA3C30DE13E5}" dt="2023-01-30T02:08:12.880" v="94" actId="478"/>
          <ac:picMkLst>
            <pc:docMk/>
            <pc:sldMk cId="2837786506" sldId="2145706126"/>
            <ac:picMk id="61" creationId="{251B6851-F656-FE48-AA5F-F4490BE5744A}"/>
          </ac:picMkLst>
        </pc:picChg>
      </pc:sldChg>
      <pc:sldChg chg="del">
        <pc:chgData name="stanley_d_chandra" userId="225be5a7-1db9-44a8-89af-0b6971124d26" providerId="ADAL" clId="{2CF4FD61-6BC2-45E4-BD5D-FA3C30DE13E5}" dt="2023-01-30T01:58:06.361" v="6" actId="47"/>
        <pc:sldMkLst>
          <pc:docMk/>
          <pc:sldMk cId="361532905" sldId="2145706127"/>
        </pc:sldMkLst>
      </pc:sldChg>
      <pc:sldChg chg="del">
        <pc:chgData name="stanley_d_chandra" userId="225be5a7-1db9-44a8-89af-0b6971124d26" providerId="ADAL" clId="{2CF4FD61-6BC2-45E4-BD5D-FA3C30DE13E5}" dt="2023-01-30T01:57:59.111" v="3" actId="47"/>
        <pc:sldMkLst>
          <pc:docMk/>
          <pc:sldMk cId="1473112033" sldId="2145706128"/>
        </pc:sldMkLst>
      </pc:sldChg>
      <pc:sldChg chg="addSp delSp modSp mod">
        <pc:chgData name="stanley_d_chandra" userId="225be5a7-1db9-44a8-89af-0b6971124d26" providerId="ADAL" clId="{2CF4FD61-6BC2-45E4-BD5D-FA3C30DE13E5}" dt="2023-01-30T02:13:34.804" v="127" actId="478"/>
        <pc:sldMkLst>
          <pc:docMk/>
          <pc:sldMk cId="435886860" sldId="2145706131"/>
        </pc:sldMkLst>
        <pc:spChg chg="add del ord">
          <ac:chgData name="stanley_d_chandra" userId="225be5a7-1db9-44a8-89af-0b6971124d26" providerId="ADAL" clId="{2CF4FD61-6BC2-45E4-BD5D-FA3C30DE13E5}" dt="2023-01-30T02:13:34.804" v="127" actId="478"/>
          <ac:spMkLst>
            <pc:docMk/>
            <pc:sldMk cId="435886860" sldId="2145706131"/>
            <ac:spMk id="2" creationId="{C7D21DEA-0712-56C5-CC5E-69FCF8D347EA}"/>
          </ac:spMkLst>
        </pc:spChg>
        <pc:picChg chg="add del mod">
          <ac:chgData name="stanley_d_chandra" userId="225be5a7-1db9-44a8-89af-0b6971124d26" providerId="ADAL" clId="{2CF4FD61-6BC2-45E4-BD5D-FA3C30DE13E5}" dt="2023-01-30T02:13:22.583" v="120" actId="22"/>
          <ac:picMkLst>
            <pc:docMk/>
            <pc:sldMk cId="435886860" sldId="2145706131"/>
            <ac:picMk id="4" creationId="{55E178CF-AEBA-DB88-E739-BED5A7E129FD}"/>
          </ac:picMkLst>
        </pc:picChg>
        <pc:picChg chg="del">
          <ac:chgData name="stanley_d_chandra" userId="225be5a7-1db9-44a8-89af-0b6971124d26" providerId="ADAL" clId="{2CF4FD61-6BC2-45E4-BD5D-FA3C30DE13E5}" dt="2023-01-30T02:10:21.500" v="97" actId="478"/>
          <ac:picMkLst>
            <pc:docMk/>
            <pc:sldMk cId="435886860" sldId="2145706131"/>
            <ac:picMk id="4" creationId="{AA9FEF1D-BE6C-114F-9D68-E5ECC40F0BE0}"/>
          </ac:picMkLst>
        </pc:picChg>
        <pc:picChg chg="add mod ord">
          <ac:chgData name="stanley_d_chandra" userId="225be5a7-1db9-44a8-89af-0b6971124d26" providerId="ADAL" clId="{2CF4FD61-6BC2-45E4-BD5D-FA3C30DE13E5}" dt="2023-01-30T02:13:33.618" v="126" actId="167"/>
          <ac:picMkLst>
            <pc:docMk/>
            <pc:sldMk cId="435886860" sldId="2145706131"/>
            <ac:picMk id="6" creationId="{23820849-E6EF-9843-4813-4CB71CDA618C}"/>
          </ac:picMkLst>
        </pc:picChg>
        <pc:picChg chg="del">
          <ac:chgData name="stanley_d_chandra" userId="225be5a7-1db9-44a8-89af-0b6971124d26" providerId="ADAL" clId="{2CF4FD61-6BC2-45E4-BD5D-FA3C30DE13E5}" dt="2023-01-30T01:58:19.792" v="10" actId="478"/>
          <ac:picMkLst>
            <pc:docMk/>
            <pc:sldMk cId="435886860" sldId="2145706131"/>
            <ac:picMk id="61" creationId="{251B6851-F656-FE48-AA5F-F4490BE5744A}"/>
          </ac:picMkLst>
        </pc:picChg>
      </pc:sldChg>
      <pc:sldChg chg="del">
        <pc:chgData name="stanley_d_chandra" userId="225be5a7-1db9-44a8-89af-0b6971124d26" providerId="ADAL" clId="{2CF4FD61-6BC2-45E4-BD5D-FA3C30DE13E5}" dt="2023-01-30T01:58:08.250" v="7" actId="47"/>
        <pc:sldMkLst>
          <pc:docMk/>
          <pc:sldMk cId="525386504" sldId="2145706132"/>
        </pc:sldMkLst>
      </pc:sldChg>
      <pc:sldChg chg="del">
        <pc:chgData name="stanley_d_chandra" userId="225be5a7-1db9-44a8-89af-0b6971124d26" providerId="ADAL" clId="{2CF4FD61-6BC2-45E4-BD5D-FA3C30DE13E5}" dt="2023-01-30T01:57:59.898" v="4" actId="47"/>
        <pc:sldMkLst>
          <pc:docMk/>
          <pc:sldMk cId="1059088430" sldId="2145706133"/>
        </pc:sldMkLst>
      </pc:sldChg>
      <pc:sldChg chg="addSp delSp modSp mod">
        <pc:chgData name="stanley_d_chandra" userId="225be5a7-1db9-44a8-89af-0b6971124d26" providerId="ADAL" clId="{2CF4FD61-6BC2-45E4-BD5D-FA3C30DE13E5}" dt="2023-01-30T02:14:13.814" v="135" actId="14100"/>
        <pc:sldMkLst>
          <pc:docMk/>
          <pc:sldMk cId="1797331935" sldId="2145706134"/>
        </pc:sldMkLst>
        <pc:spChg chg="add del ord">
          <ac:chgData name="stanley_d_chandra" userId="225be5a7-1db9-44a8-89af-0b6971124d26" providerId="ADAL" clId="{2CF4FD61-6BC2-45E4-BD5D-FA3C30DE13E5}" dt="2023-01-30T02:14:08.816" v="132" actId="478"/>
          <ac:spMkLst>
            <pc:docMk/>
            <pc:sldMk cId="1797331935" sldId="2145706134"/>
            <ac:spMk id="4" creationId="{25567843-89E2-D118-9308-1CCB98B1BC36}"/>
          </ac:spMkLst>
        </pc:spChg>
        <pc:picChg chg="del">
          <ac:chgData name="stanley_d_chandra" userId="225be5a7-1db9-44a8-89af-0b6971124d26" providerId="ADAL" clId="{2CF4FD61-6BC2-45E4-BD5D-FA3C30DE13E5}" dt="2023-01-30T02:11:59.654" v="115" actId="478"/>
          <ac:picMkLst>
            <pc:docMk/>
            <pc:sldMk cId="1797331935" sldId="2145706134"/>
            <ac:picMk id="3" creationId="{A1BB6EC7-725B-9F0A-D421-4F7D932FA334}"/>
          </ac:picMkLst>
        </pc:picChg>
        <pc:picChg chg="add mod">
          <ac:chgData name="stanley_d_chandra" userId="225be5a7-1db9-44a8-89af-0b6971124d26" providerId="ADAL" clId="{2CF4FD61-6BC2-45E4-BD5D-FA3C30DE13E5}" dt="2023-01-30T02:14:13.814" v="135" actId="14100"/>
          <ac:picMkLst>
            <pc:docMk/>
            <pc:sldMk cId="1797331935" sldId="2145706134"/>
            <ac:picMk id="5" creationId="{1C7A7BE6-3F2B-3616-F92D-B48346E95898}"/>
          </ac:picMkLst>
        </pc:picChg>
        <pc:picChg chg="del">
          <ac:chgData name="stanley_d_chandra" userId="225be5a7-1db9-44a8-89af-0b6971124d26" providerId="ADAL" clId="{2CF4FD61-6BC2-45E4-BD5D-FA3C30DE13E5}" dt="2023-01-30T01:58:25.549" v="13" actId="478"/>
          <ac:picMkLst>
            <pc:docMk/>
            <pc:sldMk cId="1797331935" sldId="2145706134"/>
            <ac:picMk id="61" creationId="{251B6851-F656-FE48-AA5F-F4490BE5744A}"/>
          </ac:picMkLst>
        </pc:picChg>
      </pc:sldChg>
      <pc:sldChg chg="del">
        <pc:chgData name="stanley_d_chandra" userId="225be5a7-1db9-44a8-89af-0b6971124d26" providerId="ADAL" clId="{2CF4FD61-6BC2-45E4-BD5D-FA3C30DE13E5}" dt="2023-01-30T01:57:56.675" v="2" actId="47"/>
        <pc:sldMkLst>
          <pc:docMk/>
          <pc:sldMk cId="619809436" sldId="2145706135"/>
        </pc:sldMkLst>
      </pc:sldChg>
      <pc:sldChg chg="del">
        <pc:chgData name="stanley_d_chandra" userId="225be5a7-1db9-44a8-89af-0b6971124d26" providerId="ADAL" clId="{2CF4FD61-6BC2-45E4-BD5D-FA3C30DE13E5}" dt="2023-01-30T01:57:55.699" v="0" actId="47"/>
        <pc:sldMkLst>
          <pc:docMk/>
          <pc:sldMk cId="249720516" sldId="2145706136"/>
        </pc:sldMkLst>
      </pc:sldChg>
      <pc:sldChg chg="del">
        <pc:chgData name="stanley_d_chandra" userId="225be5a7-1db9-44a8-89af-0b6971124d26" providerId="ADAL" clId="{2CF4FD61-6BC2-45E4-BD5D-FA3C30DE13E5}" dt="2023-01-30T01:57:56.193" v="1" actId="47"/>
        <pc:sldMkLst>
          <pc:docMk/>
          <pc:sldMk cId="2273113447" sldId="214570613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360C58-F875-42F7-B681-B0241BF9B34D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C0F01D-D25D-41D3-8851-B2E1E625D1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5201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77632-12D1-422D-B7F2-6E613B0620C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9295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0F01D-D25D-41D3-8851-B2E1E625D11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7492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0F01D-D25D-41D3-8851-B2E1E625D11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3617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0F01D-D25D-41D3-8851-B2E1E625D11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247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0F01D-D25D-41D3-8851-B2E1E625D11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3657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0F01D-D25D-41D3-8851-B2E1E625D11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2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1.emf"/><Relationship Id="rId4" Type="http://schemas.openxmlformats.org/officeDocument/2006/relationships/tags" Target="../tags/tag26.xml"/><Relationship Id="rId9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1.emf"/><Relationship Id="rId5" Type="http://schemas.openxmlformats.org/officeDocument/2006/relationships/tags" Target="../tags/tag51.xml"/><Relationship Id="rId10" Type="http://schemas.openxmlformats.org/officeDocument/2006/relationships/oleObject" Target="../embeddings/oleObject4.bin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1.emf"/><Relationship Id="rId5" Type="http://schemas.openxmlformats.org/officeDocument/2006/relationships/tags" Target="../tags/tag5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image" Target="../media/image1.emf"/><Relationship Id="rId5" Type="http://schemas.openxmlformats.org/officeDocument/2006/relationships/tags" Target="../tags/tag67.xml"/><Relationship Id="rId10" Type="http://schemas.openxmlformats.org/officeDocument/2006/relationships/oleObject" Target="../embeddings/oleObject6.bin"/><Relationship Id="rId4" Type="http://schemas.openxmlformats.org/officeDocument/2006/relationships/tags" Target="../tags/tag6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image" Target="../media/image6.emf"/><Relationship Id="rId5" Type="http://schemas.openxmlformats.org/officeDocument/2006/relationships/tags" Target="../tags/tag75.xml"/><Relationship Id="rId10" Type="http://schemas.openxmlformats.org/officeDocument/2006/relationships/oleObject" Target="../embeddings/oleObject7.bin"/><Relationship Id="rId4" Type="http://schemas.openxmlformats.org/officeDocument/2006/relationships/tags" Target="../tags/tag74.xml"/><Relationship Id="rId9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image" Target="../media/image1.emf"/><Relationship Id="rId5" Type="http://schemas.openxmlformats.org/officeDocument/2006/relationships/tags" Target="../tags/tag8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82.xml"/><Relationship Id="rId9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image" Target="../media/image1.emf"/><Relationship Id="rId4" Type="http://schemas.openxmlformats.org/officeDocument/2006/relationships/tags" Target="../tags/tag97.xml"/><Relationship Id="rId9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1A8E3B-D09E-4974-8B4A-48C7FF8B5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C7B308-EC39-4B52-9806-58113D94DF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6E914E-77C1-4DA5-B70B-1AECFEB69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27D498-C049-4683-BE42-9F9EA0D0EE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854EC5-28D2-48CC-B047-D8C229E7E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4880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9B3DF-33D2-4986-A129-D11D4DD07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2E45A4-6FF4-46A6-AA1B-71E3257A96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17B82E-F311-4283-AFDF-2149C63D0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3403E0-13A2-4E32-A860-7B7A52B30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0F9CD5-5182-434E-9A2C-DCCB57006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321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F7A876C-63C2-4E0C-99E2-83626B3304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59850D6-AD8E-45A8-A17C-7D03BF676F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095D4C-4152-47ED-A9EB-653EE02C1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A2152E-324F-45FD-8368-4993DCBD4B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42C04A-10B4-4289-94D2-B790D68D2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368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24D9FB-F31D-4215-A1DF-35D7BFDA0C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800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448807" y="1426531"/>
            <a:ext cx="90049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448808" y="1552142"/>
            <a:ext cx="381578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800" baseline="0" noProof="0">
                <a:solidFill>
                  <a:schemeClr val="tx1"/>
                </a:solidFill>
                <a:latin typeface="+mn-lt"/>
              </a:rPr>
              <a:t>Last Modified 10/2/2020 11:48 AM India Standard Time</a:t>
            </a:r>
            <a:endParaRPr lang="x-none" sz="800" baseline="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448807" y="1677755"/>
            <a:ext cx="361899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aseline="0" noProof="0">
                <a:solidFill>
                  <a:schemeClr val="tx1"/>
                </a:solidFill>
                <a:latin typeface="+mn-lt"/>
              </a:rPr>
              <a:t>Printed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8A5DC65-87EA-4796-AAB4-7CF00BA1D6F7}"/>
              </a:ext>
            </a:extLst>
          </p:cNvPr>
          <p:cNvSpPr txBox="1">
            <a:spLocks/>
          </p:cNvSpPr>
          <p:nvPr/>
        </p:nvSpPr>
        <p:spPr>
          <a:xfrm>
            <a:off x="0" y="6095584"/>
            <a:ext cx="12184600" cy="762416"/>
          </a:xfrm>
          <a:prstGeom prst="rect">
            <a:avLst/>
          </a:prstGeom>
          <a:solidFill>
            <a:schemeClr val="tx1">
              <a:alpha val="68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</a:pPr>
            <a:endParaRPr lang="en-US" sz="2100" b="1">
              <a:solidFill>
                <a:schemeClr val="accent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4C98922-14ED-4A77-9CA4-6BA51E27E0A5}"/>
              </a:ext>
            </a:extLst>
          </p:cNvPr>
          <p:cNvSpPr txBox="1">
            <a:spLocks/>
          </p:cNvSpPr>
          <p:nvPr/>
        </p:nvSpPr>
        <p:spPr>
          <a:xfrm>
            <a:off x="-4808" y="2188725"/>
            <a:ext cx="12196808" cy="1915375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</a:pPr>
            <a:endParaRPr lang="en-US" sz="2100" b="1">
              <a:solidFill>
                <a:schemeClr val="accent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4" name="Rectangle: Rounded Corners 11">
            <a:extLst>
              <a:ext uri="{FF2B5EF4-FFF2-40B4-BE49-F238E27FC236}">
                <a16:creationId xmlns:a16="http://schemas.microsoft.com/office/drawing/2014/main" id="{845C6587-DE78-44F9-A895-AFEDFE00DF12}"/>
              </a:ext>
            </a:extLst>
          </p:cNvPr>
          <p:cNvSpPr/>
          <p:nvPr/>
        </p:nvSpPr>
        <p:spPr>
          <a:xfrm>
            <a:off x="448809" y="3767875"/>
            <a:ext cx="1893697" cy="207843"/>
          </a:xfrm>
          <a:prstGeom prst="roundRect">
            <a:avLst>
              <a:gd name="adj" fmla="val 50000"/>
            </a:avLst>
          </a:prstGeom>
          <a:solidFill>
            <a:srgbClr val="EB22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>
              <a:latin typeface="+mn-lt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8F78181-3747-4422-B509-FDDDA6005D4D}"/>
              </a:ext>
            </a:extLst>
          </p:cNvPr>
          <p:cNvSpPr/>
          <p:nvPr/>
        </p:nvSpPr>
        <p:spPr>
          <a:xfrm>
            <a:off x="2404682" y="3760336"/>
            <a:ext cx="1206631" cy="222920"/>
          </a:xfrm>
          <a:prstGeom prst="roundRect">
            <a:avLst>
              <a:gd name="adj" fmla="val 50000"/>
            </a:avLst>
          </a:prstGeom>
          <a:solidFill>
            <a:srgbClr val="FBA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>
              <a:latin typeface="+mn-lt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C57A849-844A-4046-B25A-BA0096270DD3}"/>
              </a:ext>
            </a:extLst>
          </p:cNvPr>
          <p:cNvSpPr/>
          <p:nvPr/>
        </p:nvSpPr>
        <p:spPr>
          <a:xfrm>
            <a:off x="3673488" y="3746567"/>
            <a:ext cx="622168" cy="22292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00">
              <a:latin typeface="+mn-lt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0C62855-A55A-43A1-90A3-746E4D43A04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254" y="6265304"/>
            <a:ext cx="1421879" cy="41574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1250AED-0EBD-483F-8483-EDC7076F54F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407" y="240987"/>
            <a:ext cx="1489108" cy="64765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9720A59-8622-4E16-8E8A-AFB991C8120D}"/>
              </a:ext>
            </a:extLst>
          </p:cNvPr>
          <p:cNvSpPr txBox="1"/>
          <p:nvPr/>
        </p:nvSpPr>
        <p:spPr>
          <a:xfrm>
            <a:off x="7009186" y="6303898"/>
            <a:ext cx="49648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D" sz="1600">
                <a:solidFill>
                  <a:schemeClr val="bg1"/>
                </a:solidFill>
                <a:latin typeface="+mn-lt"/>
              </a:rPr>
              <a:t>Data Insight &amp; Interface Service Development Group</a:t>
            </a:r>
            <a:endParaRPr lang="id-ID" sz="14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48808" y="3027983"/>
            <a:ext cx="10752593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lang="x-none" sz="1400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48808" y="2294426"/>
            <a:ext cx="10752593" cy="50244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48808" y="3401463"/>
            <a:ext cx="1075259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400" baseline="0" noProof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286569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6704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35777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060F9BBF-7A9F-4997-816D-34BA1221769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797864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1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927708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9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6704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116436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30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1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accent2">
                    <a:lumMod val="1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4217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1F1F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5"/>
            <a:ext cx="2514600" cy="553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accent2">
                    <a:lumMod val="10000"/>
                  </a:schemeClr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44912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1F1F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7" y="3659646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accent2">
                    <a:lumMod val="10000"/>
                  </a:schemeClr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971308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8F35AE-1305-4EC2-A6CB-8A3520DDC6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DEBDFE-E880-44C3-8E2E-778DB25619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F244BC-4CC1-47BA-B3FF-85DF05B331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F1F4AF-0EC1-453A-A4E5-68201EAE83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3AE21D-C0A7-494D-B4E6-8F2D6DAA6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0522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1F1F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6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accent2">
                    <a:lumMod val="1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179010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1F1F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accent2">
                    <a:lumMod val="1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8173371" y="88485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96163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1F1F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accent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accent2">
                  <a:lumMod val="10000"/>
                </a:scheme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9119861" y="89322"/>
            <a:ext cx="252045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accent2">
                    <a:lumMod val="10000"/>
                  </a:schemeClr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6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accent2">
                    <a:lumMod val="1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accent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604235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6704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bg2"/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587053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accent2">
                  <a:lumMod val="1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bg2"/>
                </a:solidFill>
              </a:defRPr>
            </a:lvl1pPr>
          </a:lstStyle>
          <a:p>
            <a:pPr lvl="0" algn="r"/>
            <a:r>
              <a:rPr lang="en-US"/>
              <a:t>Chapter › Topic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accent2">
                    <a:lumMod val="10000"/>
                  </a:schemeClr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7718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469290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2B57F-1BB5-45C4-A692-BD5C29D79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85E530-B4EA-4DBB-9AF7-51B34FF88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BF9F0E-003A-4675-81E0-698A5CA177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064935-B24D-4A2C-A752-8EC7ACF3F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358910-4473-45A9-9FAD-420CFDFB2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8319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F1A675-912F-43CA-8CD4-99D7A2FF50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963B46-628A-46CB-91FF-43E1FA71DC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973281-9C4E-4FCB-AC4E-7520ACF1B4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7DAD00-DCE0-46DE-A291-A19D0BDF5C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BE1DBA-49FF-4D74-9F01-73980A2DF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AD94C4-C56E-43F4-B46A-1B16E1A6A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379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ECDDD-54D8-4B4B-8C8C-13F2C8C4D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644CC9-4661-442E-B452-530069FC43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48DA47-9B19-4166-8570-C210B775ED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7DF52E-09C5-4D2C-8B7A-E147302785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B832BDE-CC90-45E3-905E-9D90EC6945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DAA9988-079F-45E8-B0EE-B9A3696E6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DB3F1AA-BEAD-4080-9061-38EBBC310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135CE-EAAA-4B1C-B951-AECD13D5B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809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F17044-75B6-4ECB-B650-00FE67AAB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1CDE19-CB3F-4EF9-8ACC-9406065FA8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75B7B5-40E2-45E2-B2B3-4C08DF61B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DFC9EA-F568-4408-82CB-727DC5837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24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B3BD0B-3296-4233-A40E-64158A4A6D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93162A-3376-47C7-9F37-2A8BB4C98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748EA1-2F5A-4139-BC76-303A7D814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13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7EC4B-89D3-43E1-9890-DFABA813D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8E9FC1-1FED-4FF8-85CF-C3B2DEF2B7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60F860-3066-4538-95F6-F8506BD99C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4808AC-5789-443A-AFF1-354C677FF5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49E870-626F-4DD5-B162-EE0567862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CF5FAE-9897-4FC4-8C1D-DE53538A6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753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1592E-C8B4-4F69-8DF3-DD89D284A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1C5AF0-6DE8-4D6B-9291-D542614D39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364014-C0DA-436C-AFDC-A4EF483284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1D8283-2615-41DB-97D4-F6ED521CC6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022E55-B25E-4574-A05A-8704EE0F0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976C9F-E7C4-4D71-99BD-838E7ECC3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889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51EFBB9-8A89-4D1A-9F2A-302A6EF172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9137E4-C5FA-4934-A000-5AA3587358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B0D195-F48B-4B42-A50C-5229F36125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1DAAEB-6A02-43C3-A8A0-96CF06EFD735}" type="datetimeFigureOut">
              <a:rPr lang="en-US" smtClean="0"/>
              <a:t>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6D5C1C-26B8-4D07-AB01-9D24F746D8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367486-348D-49C4-AB24-5D8D100069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16DE2E-C14B-480F-AFB4-2C3B40BF651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1E1A09-FA45-97FF-7520-96336828EBE7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36080"/>
            <a:ext cx="34766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83706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903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54312" y="204219"/>
            <a:ext cx="984867" cy="1583587"/>
            <a:chOff x="9585951" y="2988702"/>
            <a:chExt cx="984866" cy="1700091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2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2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2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2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bg2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8702"/>
              <a:ext cx="658720" cy="198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68200"/>
              <a:ext cx="658718" cy="198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47697"/>
              <a:ext cx="658718" cy="198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9118"/>
              <a:ext cx="658718" cy="198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90541"/>
              <a:ext cx="653112" cy="198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754306" y="191174"/>
            <a:ext cx="952383" cy="161133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1" y="1718299"/>
              <a:ext cx="670985" cy="198478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1" y="2093758"/>
              <a:ext cx="670985" cy="198478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1" y="2469217"/>
              <a:ext cx="670985" cy="198478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1" y="2844676"/>
              <a:ext cx="670985" cy="198478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1" y="3220138"/>
              <a:ext cx="670985" cy="198478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chemeClr val="bg2"/>
                  </a:solidFill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4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201" y="1289273"/>
            <a:ext cx="430503" cy="156966"/>
            <a:chOff x="8456447" y="272180"/>
            <a:chExt cx="322861" cy="156935"/>
          </a:xfrm>
          <a:noFill/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861" cy="156935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30">
                <a:buClr>
                  <a:schemeClr val="tx2"/>
                </a:buClr>
              </a:pPr>
              <a:r>
                <a:rPr lang="en-US" sz="900" b="1" spc="51">
                  <a:ln w="3175">
                    <a:noFill/>
                  </a:ln>
                  <a:solidFill>
                    <a:schemeClr val="accent2">
                      <a:lumMod val="10000"/>
                    </a:schemeClr>
                  </a:solidFill>
                </a:rPr>
                <a:t>Sticker</a:t>
              </a:r>
              <a:endParaRPr lang="en-US" sz="800" baseline="0">
                <a:solidFill>
                  <a:schemeClr val="accent2">
                    <a:lumMod val="10000"/>
                  </a:schemeClr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15"/>
              <a:ext cx="322861" cy="0"/>
            </a:xfrm>
            <a:prstGeom prst="straightConnector1">
              <a:avLst/>
            </a:pr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30" y="3301673"/>
            <a:ext cx="1269335" cy="958287"/>
            <a:chOff x="4372690" y="3739100"/>
            <a:chExt cx="1269335" cy="958287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0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E479A147-B416-3714-C4B0-1428015C341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36080"/>
            <a:ext cx="34766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446291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500" b="0" kern="1200" spc="0" baseline="0">
          <a:ln w="6350" cap="flat">
            <a:noFill/>
            <a:miter lim="800000"/>
          </a:ln>
          <a:solidFill>
            <a:srgbClr val="FF0000"/>
          </a:solidFill>
          <a:latin typeface="+mn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94" indent="-22542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4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26" indent="-287331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32" indent="-182558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377" indent="-136522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raphs on a display with reflection of office">
            <a:extLst>
              <a:ext uri="{FF2B5EF4-FFF2-40B4-BE49-F238E27FC236}">
                <a16:creationId xmlns:a16="http://schemas.microsoft.com/office/drawing/2014/main" id="{DDEC3134-BE87-47E4-BC84-D95851CF1C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289512" cy="685800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477747A-BC4D-4257-ADC1-D44126FBBDD1}"/>
              </a:ext>
            </a:extLst>
          </p:cNvPr>
          <p:cNvSpPr/>
          <p:nvPr/>
        </p:nvSpPr>
        <p:spPr>
          <a:xfrm>
            <a:off x="6718366" y="-390386"/>
            <a:ext cx="9966960" cy="98176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BB3CCCF6-DAD9-472F-B343-23533D8EFD10}"/>
              </a:ext>
            </a:extLst>
          </p:cNvPr>
          <p:cNvSpPr txBox="1">
            <a:spLocks/>
          </p:cNvSpPr>
          <p:nvPr/>
        </p:nvSpPr>
        <p:spPr>
          <a:xfrm>
            <a:off x="7268699" y="1679384"/>
            <a:ext cx="4229034" cy="349923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en-US" sz="3200" b="1" dirty="0">
                <a:solidFill>
                  <a:srgbClr val="081B3B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</a:p>
          <a:p>
            <a:pPr algn="r">
              <a:lnSpc>
                <a:spcPct val="100000"/>
              </a:lnSpc>
            </a:pPr>
            <a:r>
              <a:rPr lang="en-US" sz="3200" b="1" dirty="0">
                <a:solidFill>
                  <a:srgbClr val="081B3B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</a:p>
          <a:p>
            <a:pPr algn="r">
              <a:lnSpc>
                <a:spcPct val="100000"/>
              </a:lnSpc>
            </a:pPr>
            <a:r>
              <a:rPr lang="en-US" sz="3200" b="1" dirty="0">
                <a:solidFill>
                  <a:srgbClr val="081B3B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</a:p>
          <a:p>
            <a:pPr algn="r">
              <a:lnSpc>
                <a:spcPct val="100000"/>
              </a:lnSpc>
            </a:pPr>
            <a:r>
              <a:rPr lang="en-US" sz="3200" b="1">
                <a:solidFill>
                  <a:srgbClr val="081B3B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endParaRPr lang="en-US" sz="3200" b="1" dirty="0">
              <a:solidFill>
                <a:srgbClr val="081B3B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8119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52758496-8303-4D0C-BA9E-5C2300C73EC0}"/>
              </a:ext>
            </a:extLst>
          </p:cNvPr>
          <p:cNvSpPr txBox="1">
            <a:spLocks/>
          </p:cNvSpPr>
          <p:nvPr/>
        </p:nvSpPr>
        <p:spPr>
          <a:xfrm>
            <a:off x="253042" y="203670"/>
            <a:ext cx="11097126" cy="6749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>
                <a:latin typeface="Century Gothic" panose="020B0502020202020204" pitchFamily="34" charset="0"/>
                <a:ea typeface="+mn-ea"/>
                <a:cs typeface="+mn-cs"/>
              </a:rPr>
              <a:t>Agend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68114BB-F72F-2949-AF79-ACB2CCCADD59}"/>
              </a:ext>
            </a:extLst>
          </p:cNvPr>
          <p:cNvSpPr txBox="1"/>
          <p:nvPr/>
        </p:nvSpPr>
        <p:spPr>
          <a:xfrm>
            <a:off x="253042" y="894690"/>
            <a:ext cx="10481094" cy="2532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latin typeface="Century Gothic" panose="020B0502020202020204" pitchFamily="34" charset="0"/>
              </a:rPr>
              <a:t>Dataset summary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latin typeface="Century Gothic" panose="020B0502020202020204" pitchFamily="34" charset="0"/>
              </a:rPr>
              <a:t>Model v2 development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Century Gothic" panose="020B0502020202020204" pitchFamily="34" charset="0"/>
              </a:rPr>
              <a:t>Methodology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Century Gothic" panose="020B0502020202020204" pitchFamily="34" charset="0"/>
              </a:rPr>
              <a:t>Model selection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Century Gothic" panose="020B0502020202020204" pitchFamily="34" charset="0"/>
              </a:rPr>
              <a:t>Feature importance - SHAP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latin typeface="Century Gothic" panose="020B0502020202020204" pitchFamily="34" charset="0"/>
              </a:rPr>
              <a:t>Performance comparison: Model v1 vs Model v2</a:t>
            </a:r>
          </a:p>
        </p:txBody>
      </p:sp>
    </p:spTree>
    <p:extLst>
      <p:ext uri="{BB962C8B-B14F-4D97-AF65-F5344CB8AC3E}">
        <p14:creationId xmlns:p14="http://schemas.microsoft.com/office/powerpoint/2010/main" val="9073371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3820849-E6EF-9843-4813-4CB71CDA61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065" y="2057400"/>
            <a:ext cx="6804392" cy="2372868"/>
          </a:xfrm>
          <a:prstGeom prst="rect">
            <a:avLst/>
          </a:prstGeom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52758496-8303-4D0C-BA9E-5C2300C73EC0}"/>
              </a:ext>
            </a:extLst>
          </p:cNvPr>
          <p:cNvSpPr txBox="1">
            <a:spLocks/>
          </p:cNvSpPr>
          <p:nvPr/>
        </p:nvSpPr>
        <p:spPr>
          <a:xfrm>
            <a:off x="253042" y="203670"/>
            <a:ext cx="11097126" cy="6749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>
                <a:latin typeface="Century Gothic" panose="020B0502020202020204" pitchFamily="34" charset="0"/>
                <a:ea typeface="+mn-ea"/>
                <a:cs typeface="+mn-cs"/>
              </a:rPr>
              <a:t>Dataset Summar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9DA072-70B4-8B4D-9204-8753DA0D0FD4}"/>
              </a:ext>
            </a:extLst>
          </p:cNvPr>
          <p:cNvSpPr txBox="1"/>
          <p:nvPr/>
        </p:nvSpPr>
        <p:spPr>
          <a:xfrm>
            <a:off x="391065" y="878666"/>
            <a:ext cx="10481094" cy="10208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>
                <a:latin typeface="Century Gothic" panose="020B0502020202020204" pitchFamily="34" charset="0"/>
              </a:rPr>
              <a:t>Development sample: (202101 to 202104) and 202107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err="1">
                <a:latin typeface="Century Gothic" panose="020B0502020202020204" pitchFamily="34" charset="0"/>
              </a:rPr>
              <a:t>Covid</a:t>
            </a:r>
            <a:r>
              <a:rPr lang="en-US" sz="1400">
                <a:latin typeface="Century Gothic" panose="020B0502020202020204" pitchFamily="34" charset="0"/>
              </a:rPr>
              <a:t> testing sample: 202105 to 202106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>
                <a:latin typeface="Century Gothic" panose="020B0502020202020204" pitchFamily="34" charset="0"/>
              </a:rPr>
              <a:t>OOT sample: 202108 to 202109</a:t>
            </a:r>
          </a:p>
        </p:txBody>
      </p:sp>
    </p:spTree>
    <p:extLst>
      <p:ext uri="{BB962C8B-B14F-4D97-AF65-F5344CB8AC3E}">
        <p14:creationId xmlns:p14="http://schemas.microsoft.com/office/powerpoint/2010/main" val="435886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3F96127-B5C3-2141-A3DC-F32F6758C1B8}"/>
              </a:ext>
            </a:extLst>
          </p:cNvPr>
          <p:cNvSpPr txBox="1"/>
          <p:nvPr/>
        </p:nvSpPr>
        <p:spPr>
          <a:xfrm>
            <a:off x="391065" y="878666"/>
            <a:ext cx="10481094" cy="4979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Time based cross-valid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Each fold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Shifts forward 1 </a:t>
            </a:r>
            <a:r>
              <a:rPr lang="en-US" sz="1400" dirty="0" err="1">
                <a:latin typeface="Century Gothic" panose="020B0502020202020204" pitchFamily="34" charset="0"/>
              </a:rPr>
              <a:t>weekstart</a:t>
            </a:r>
            <a:endParaRPr lang="en-US" sz="1400" dirty="0">
              <a:latin typeface="Century Gothic" panose="020B050202020202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Has</a:t>
            </a:r>
            <a:r>
              <a:rPr lang="en-US" sz="1400" b="1" i="1" dirty="0">
                <a:latin typeface="Century Gothic" panose="020B0502020202020204" pitchFamily="34" charset="0"/>
              </a:rPr>
              <a:t> n</a:t>
            </a:r>
            <a:r>
              <a:rPr lang="en-US" sz="1400" dirty="0">
                <a:latin typeface="Century Gothic" panose="020B0502020202020204" pitchFamily="34" charset="0"/>
              </a:rPr>
              <a:t> </a:t>
            </a:r>
            <a:r>
              <a:rPr lang="en-US" sz="1400" dirty="0" err="1">
                <a:latin typeface="Century Gothic" panose="020B0502020202020204" pitchFamily="34" charset="0"/>
              </a:rPr>
              <a:t>week_train</a:t>
            </a:r>
            <a:r>
              <a:rPr lang="en-US" sz="1400" dirty="0">
                <a:latin typeface="Century Gothic" panose="020B0502020202020204" pitchFamily="34" charset="0"/>
              </a:rPr>
              <a:t> (blue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Has</a:t>
            </a:r>
            <a:r>
              <a:rPr lang="en-US" sz="1400" b="1" i="1" dirty="0">
                <a:latin typeface="Century Gothic" panose="020B0502020202020204" pitchFamily="34" charset="0"/>
              </a:rPr>
              <a:t> m</a:t>
            </a:r>
            <a:r>
              <a:rPr lang="en-US" sz="1400" dirty="0">
                <a:latin typeface="Century Gothic" panose="020B0502020202020204" pitchFamily="34" charset="0"/>
              </a:rPr>
              <a:t> </a:t>
            </a:r>
            <a:r>
              <a:rPr lang="en-US" sz="1400" dirty="0" err="1">
                <a:latin typeface="Century Gothic" panose="020B0502020202020204" pitchFamily="34" charset="0"/>
              </a:rPr>
              <a:t>week_test</a:t>
            </a:r>
            <a:r>
              <a:rPr lang="en-US" sz="1400" dirty="0">
                <a:latin typeface="Century Gothic" panose="020B0502020202020204" pitchFamily="34" charset="0"/>
              </a:rPr>
              <a:t> (orange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Last </a:t>
            </a:r>
            <a:r>
              <a:rPr lang="en-US" sz="1400" b="1" i="1" dirty="0">
                <a:latin typeface="Century Gothic" panose="020B0502020202020204" pitchFamily="34" charset="0"/>
              </a:rPr>
              <a:t>n</a:t>
            </a:r>
            <a:r>
              <a:rPr lang="en-US" sz="1400" dirty="0">
                <a:latin typeface="Century Gothic" panose="020B0502020202020204" pitchFamily="34" charset="0"/>
              </a:rPr>
              <a:t> </a:t>
            </a:r>
            <a:r>
              <a:rPr lang="en-US" sz="1400" dirty="0" err="1">
                <a:latin typeface="Century Gothic" panose="020B0502020202020204" pitchFamily="34" charset="0"/>
              </a:rPr>
              <a:t>weekstart</a:t>
            </a:r>
            <a:r>
              <a:rPr lang="en-US" sz="1400" dirty="0">
                <a:latin typeface="Century Gothic" panose="020B0502020202020204" pitchFamily="34" charset="0"/>
              </a:rPr>
              <a:t> will be used for final mode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Only using </a:t>
            </a:r>
            <a:r>
              <a:rPr lang="en-US" sz="1400" b="1" i="1" dirty="0">
                <a:latin typeface="Century Gothic" panose="020B0502020202020204" pitchFamily="34" charset="0"/>
              </a:rPr>
              <a:t>development</a:t>
            </a:r>
            <a:r>
              <a:rPr lang="en-US" sz="1400" i="1" dirty="0">
                <a:latin typeface="Century Gothic" panose="020B0502020202020204" pitchFamily="34" charset="0"/>
              </a:rPr>
              <a:t> </a:t>
            </a:r>
            <a:r>
              <a:rPr lang="en-US" sz="1400" dirty="0">
                <a:latin typeface="Century Gothic" panose="020B0502020202020204" pitchFamily="34" charset="0"/>
              </a:rPr>
              <a:t>sample typ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err="1">
                <a:latin typeface="Century Gothic" panose="020B0502020202020204" pitchFamily="34" charset="0"/>
              </a:rPr>
              <a:t>Weekstart</a:t>
            </a:r>
            <a:r>
              <a:rPr lang="en-US" sz="1400" dirty="0">
                <a:latin typeface="Century Gothic" panose="020B0502020202020204" pitchFamily="34" charset="0"/>
              </a:rPr>
              <a:t>: [</a:t>
            </a:r>
            <a:r>
              <a:rPr lang="en-ID" sz="1400" dirty="0">
                <a:latin typeface="Century Gothic" panose="020B0502020202020204" pitchFamily="34" charset="0"/>
              </a:rPr>
              <a:t>2020-12-28 to 2021-04-26] and [2021-06-28 to 2021-07-26]</a:t>
            </a:r>
            <a:endParaRPr lang="en-US" sz="1400" dirty="0">
              <a:latin typeface="Century Gothic" panose="020B0502020202020204" pitchFamily="34" charset="0"/>
            </a:endParaRP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52758496-8303-4D0C-BA9E-5C2300C73EC0}"/>
              </a:ext>
            </a:extLst>
          </p:cNvPr>
          <p:cNvSpPr txBox="1">
            <a:spLocks/>
          </p:cNvSpPr>
          <p:nvPr/>
        </p:nvSpPr>
        <p:spPr>
          <a:xfrm>
            <a:off x="253042" y="203670"/>
            <a:ext cx="11097126" cy="6749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latin typeface="Century Gothic" panose="020B0502020202020204" pitchFamily="34" charset="0"/>
                <a:ea typeface="+mn-ea"/>
                <a:cs typeface="+mn-cs"/>
              </a:rPr>
              <a:t>Model v2 Development – methodolog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DAB4C6-2BCC-E64D-9203-1C822F60D48C}"/>
              </a:ext>
            </a:extLst>
          </p:cNvPr>
          <p:cNvSpPr txBox="1"/>
          <p:nvPr/>
        </p:nvSpPr>
        <p:spPr>
          <a:xfrm>
            <a:off x="2251495" y="2993366"/>
            <a:ext cx="836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err="1"/>
              <a:t>Weekstart</a:t>
            </a:r>
            <a:endParaRPr lang="en-US" sz="1100" b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0F0A46-AADB-35F9-6F1B-FAD8563BEF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873" y="1282240"/>
            <a:ext cx="3988005" cy="139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669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52758496-8303-4D0C-BA9E-5C2300C73EC0}"/>
              </a:ext>
            </a:extLst>
          </p:cNvPr>
          <p:cNvSpPr txBox="1">
            <a:spLocks/>
          </p:cNvSpPr>
          <p:nvPr/>
        </p:nvSpPr>
        <p:spPr>
          <a:xfrm>
            <a:off x="253042" y="203670"/>
            <a:ext cx="11097126" cy="6749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>
                <a:latin typeface="Century Gothic" panose="020B0502020202020204" pitchFamily="34" charset="0"/>
                <a:ea typeface="+mn-ea"/>
                <a:cs typeface="+mn-cs"/>
              </a:rPr>
              <a:t>Model v2 Development – model selection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7A046C48-1ED3-2343-9301-CD835C857E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1595446"/>
              </p:ext>
            </p:extLst>
          </p:nvPr>
        </p:nvGraphicFramePr>
        <p:xfrm>
          <a:off x="253041" y="878666"/>
          <a:ext cx="10029646" cy="437205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652164">
                  <a:extLst>
                    <a:ext uri="{9D8B030D-6E8A-4147-A177-3AD203B41FA5}">
                      <a16:colId xmlns:a16="http://schemas.microsoft.com/office/drawing/2014/main" val="414927284"/>
                    </a:ext>
                  </a:extLst>
                </a:gridCol>
                <a:gridCol w="2502893">
                  <a:extLst>
                    <a:ext uri="{9D8B030D-6E8A-4147-A177-3AD203B41FA5}">
                      <a16:colId xmlns:a16="http://schemas.microsoft.com/office/drawing/2014/main" val="3145359864"/>
                    </a:ext>
                  </a:extLst>
                </a:gridCol>
                <a:gridCol w="1449238">
                  <a:extLst>
                    <a:ext uri="{9D8B030D-6E8A-4147-A177-3AD203B41FA5}">
                      <a16:colId xmlns:a16="http://schemas.microsoft.com/office/drawing/2014/main" val="288824585"/>
                    </a:ext>
                  </a:extLst>
                </a:gridCol>
                <a:gridCol w="1121023">
                  <a:extLst>
                    <a:ext uri="{9D8B030D-6E8A-4147-A177-3AD203B41FA5}">
                      <a16:colId xmlns:a16="http://schemas.microsoft.com/office/drawing/2014/main" val="385938518"/>
                    </a:ext>
                  </a:extLst>
                </a:gridCol>
                <a:gridCol w="1652164">
                  <a:extLst>
                    <a:ext uri="{9D8B030D-6E8A-4147-A177-3AD203B41FA5}">
                      <a16:colId xmlns:a16="http://schemas.microsoft.com/office/drawing/2014/main" val="2316154995"/>
                    </a:ext>
                  </a:extLst>
                </a:gridCol>
                <a:gridCol w="1652164">
                  <a:extLst>
                    <a:ext uri="{9D8B030D-6E8A-4147-A177-3AD203B41FA5}">
                      <a16:colId xmlns:a16="http://schemas.microsoft.com/office/drawing/2014/main" val="32284165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Century Gothic" panose="020B0502020202020204" pitchFamily="34" charset="0"/>
                        </a:rPr>
                        <a:t>Model confi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  <a:latin typeface="Century Gothic" panose="020B0502020202020204" pitchFamily="34" charset="0"/>
                        </a:rPr>
                        <a:t>Lorem Ips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Century Gothic" panose="020B0502020202020204" pitchFamily="34" charset="0"/>
                        </a:rPr>
                        <a:t>Mean GI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Century Gothic" panose="020B0502020202020204" pitchFamily="34" charset="0"/>
                        </a:rPr>
                        <a:t>ST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Century Gothic" panose="020B0502020202020204" pitchFamily="34" charset="0"/>
                        </a:rPr>
                        <a:t>Train GI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Century Gothic" panose="020B0502020202020204" pitchFamily="34" charset="0"/>
                        </a:rPr>
                        <a:t>Covid testing GIN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44136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latin typeface="Century Gothic" panose="020B0502020202020204" pitchFamily="34" charset="0"/>
                        </a:rPr>
                        <a:t>No calib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latin typeface="Century Gothic" panose="020B0502020202020204" pitchFamily="34" charset="0"/>
                        </a:rPr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b="0" i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b="0" i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latin typeface="Century Gothic" panose="020B0502020202020204" pitchFamily="34" charset="0"/>
                        </a:rPr>
                        <a:t>0.35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6784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ID" sz="1400" b="0" i="0" dirty="0">
                          <a:latin typeface="Century Gothic" panose="020B0502020202020204" pitchFamily="34" charset="0"/>
                        </a:rPr>
                        <a:t>model_1 (as baselin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b="0" i="0" dirty="0">
                          <a:latin typeface="Century Gothic" panose="020B0502020202020204" pitchFamily="34" charset="0"/>
                        </a:rPr>
                        <a:t>21 (current model feature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b="0" i="0" dirty="0">
                          <a:latin typeface="Century Gothic" panose="020B0502020202020204" pitchFamily="34" charset="0"/>
                        </a:rPr>
                        <a:t>0.38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b="0" i="0" dirty="0">
                          <a:latin typeface="Century Gothic" panose="020B0502020202020204" pitchFamily="34" charset="0"/>
                        </a:rPr>
                        <a:t>0.00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b="0" i="0" dirty="0">
                          <a:latin typeface="Century Gothic" panose="020B0502020202020204" pitchFamily="34" charset="0"/>
                        </a:rPr>
                        <a:t>0.4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400" b="0" i="0" dirty="0">
                          <a:latin typeface="Century Gothic" panose="020B0502020202020204" pitchFamily="34" charset="0"/>
                        </a:rPr>
                        <a:t>0.370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8786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del_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0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04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90841404"/>
                  </a:ext>
                </a:extLst>
              </a:tr>
              <a:tr h="487128"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del_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0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0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535513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del_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8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00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19332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del_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8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398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742973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del_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39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7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396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7958806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D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del_7</a:t>
                      </a:r>
                      <a:endParaRPr lang="en-ID" sz="1400" b="0" i="0" u="none" strike="noStrike" noProof="0" dirty="0"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5 </a:t>
                      </a:r>
                      <a:r>
                        <a:rPr lang="en-ID" sz="1400" b="0" i="0" u="none" strike="noStrike" noProof="0" dirty="0">
                          <a:effectLst/>
                          <a:latin typeface="Century Gothic" panose="020B0502020202020204" pitchFamily="34" charset="0"/>
                        </a:rPr>
                        <a:t>(remove high correlated features from model_4)</a:t>
                      </a:r>
                      <a:endParaRPr lang="en-ID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399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009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82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3977</a:t>
                      </a:r>
                    </a:p>
                  </a:txBody>
                  <a:tcPr marL="9524" marR="9524" marT="9524" marB="0" anchor="b"/>
                </a:tc>
                <a:extLst>
                  <a:ext uri="{0D108BD9-81ED-4DB2-BD59-A6C34878D82A}">
                    <a16:rowId xmlns:a16="http://schemas.microsoft.com/office/drawing/2014/main" val="1619692713"/>
                  </a:ext>
                </a:extLst>
              </a:tr>
              <a:tr h="258173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D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del_8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7 </a:t>
                      </a:r>
                      <a:r>
                        <a:rPr lang="en-ID" sz="1400" b="0" i="0" u="none" strike="noStrike" noProof="0" dirty="0">
                          <a:effectLst/>
                          <a:latin typeface="Century Gothic" panose="020B0502020202020204" pitchFamily="34" charset="0"/>
                        </a:rPr>
                        <a:t>(remove high correlated features from model_6)</a:t>
                      </a:r>
                      <a:endParaRPr lang="en-ID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395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009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471</a:t>
                      </a:r>
                    </a:p>
                  </a:txBody>
                  <a:tcPr marL="9524" marR="9524" marT="9524" marB="0" anchor="b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ID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3937</a:t>
                      </a:r>
                    </a:p>
                  </a:txBody>
                  <a:tcPr marL="9524" marR="9524" marT="9524" marB="0" anchor="b"/>
                </a:tc>
                <a:extLst>
                  <a:ext uri="{0D108BD9-81ED-4DB2-BD59-A6C34878D82A}">
                    <a16:rowId xmlns:a16="http://schemas.microsoft.com/office/drawing/2014/main" val="307779942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15D8701-8EBA-2E45-AA13-AC397B1E7D9B}"/>
              </a:ext>
            </a:extLst>
          </p:cNvPr>
          <p:cNvSpPr txBox="1"/>
          <p:nvPr/>
        </p:nvSpPr>
        <p:spPr>
          <a:xfrm>
            <a:off x="320560" y="5447345"/>
            <a:ext cx="9969261" cy="8697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Century Gothic"/>
              </a:rPr>
              <a:t>Considering the trade-off between performance and number of features, we recommend </a:t>
            </a:r>
            <a:r>
              <a:rPr lang="en-US" b="1" dirty="0">
                <a:latin typeface="Century Gothic"/>
              </a:rPr>
              <a:t>model_8 </a:t>
            </a:r>
            <a:r>
              <a:rPr lang="en-US" dirty="0">
                <a:latin typeface="Century Gothic"/>
              </a:rPr>
              <a:t>as the selected model for production</a:t>
            </a:r>
          </a:p>
        </p:txBody>
      </p:sp>
    </p:spTree>
    <p:extLst>
      <p:ext uri="{BB962C8B-B14F-4D97-AF65-F5344CB8AC3E}">
        <p14:creationId xmlns:p14="http://schemas.microsoft.com/office/powerpoint/2010/main" val="28377865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52758496-8303-4D0C-BA9E-5C2300C73EC0}"/>
              </a:ext>
            </a:extLst>
          </p:cNvPr>
          <p:cNvSpPr txBox="1">
            <a:spLocks/>
          </p:cNvSpPr>
          <p:nvPr/>
        </p:nvSpPr>
        <p:spPr>
          <a:xfrm>
            <a:off x="253042" y="203670"/>
            <a:ext cx="11097126" cy="6749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>
                <a:latin typeface="Century Gothic" panose="020B0502020202020204" pitchFamily="34" charset="0"/>
                <a:ea typeface="+mn-ea"/>
                <a:cs typeface="+mn-cs"/>
              </a:rPr>
              <a:t>Performance comparison – GINI per month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234ECC-8D3A-A643-9A3A-3046DC31492C}"/>
              </a:ext>
            </a:extLst>
          </p:cNvPr>
          <p:cNvSpPr txBox="1"/>
          <p:nvPr/>
        </p:nvSpPr>
        <p:spPr>
          <a:xfrm>
            <a:off x="253042" y="792000"/>
            <a:ext cx="10481094" cy="37439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u="sng" dirty="0">
                <a:latin typeface="Century Gothic"/>
              </a:rPr>
              <a:t>No calibration </a:t>
            </a:r>
            <a:r>
              <a:rPr lang="en-US" sz="1400" u="sng" dirty="0">
                <a:latin typeface="Century Gothic"/>
              </a:rPr>
              <a:t>vs </a:t>
            </a:r>
            <a:r>
              <a:rPr lang="en-US" sz="1400" b="1" u="sng" dirty="0">
                <a:latin typeface="Century Gothic"/>
              </a:rPr>
              <a:t>model_1 (baseline) </a:t>
            </a:r>
            <a:r>
              <a:rPr lang="en-US" sz="1400" u="sng" dirty="0">
                <a:latin typeface="Century Gothic"/>
              </a:rPr>
              <a:t>vs </a:t>
            </a:r>
            <a:r>
              <a:rPr lang="en-US" sz="1400" b="1" u="sng" dirty="0">
                <a:latin typeface="Century Gothic"/>
              </a:rPr>
              <a:t>model_8</a:t>
            </a:r>
            <a:endParaRPr lang="en-US" sz="1400" b="1" u="sng" dirty="0">
              <a:latin typeface="Century Gothic" panose="020B0502020202020204" pitchFamily="34" charset="0"/>
            </a:endParaRPr>
          </a:p>
        </p:txBody>
      </p:sp>
      <p:pic>
        <p:nvPicPr>
          <p:cNvPr id="2" name="Picture 2" descr="Chart, line chart&#10;&#10;Description automatically generated">
            <a:extLst>
              <a:ext uri="{FF2B5EF4-FFF2-40B4-BE49-F238E27FC236}">
                <a16:creationId xmlns:a16="http://schemas.microsoft.com/office/drawing/2014/main" id="{D00E7D4B-3938-F894-3E2E-0020B15034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855" y="3054177"/>
            <a:ext cx="7074059" cy="358544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C7A7BE6-3F2B-3616-F92D-B48346E958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426" y="1166398"/>
            <a:ext cx="5413359" cy="1887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331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BESUpNSi6CwgLEpige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">
  <a:themeElements>
    <a:clrScheme name="Client template">
      <a:dk1>
        <a:srgbClr val="141414"/>
      </a:dk1>
      <a:lt1>
        <a:srgbClr val="FFFFFF"/>
      </a:lt1>
      <a:dk2>
        <a:srgbClr val="FF0000"/>
      </a:dk2>
      <a:lt2>
        <a:srgbClr val="FFFFFF"/>
      </a:lt2>
      <a:accent1>
        <a:srgbClr val="FF0000"/>
      </a:accent1>
      <a:accent2>
        <a:srgbClr val="F5D2C8"/>
      </a:accent2>
      <a:accent3>
        <a:srgbClr val="CDCDCD"/>
      </a:accent3>
      <a:accent4>
        <a:srgbClr val="909090"/>
      </a:accent4>
      <a:accent5>
        <a:srgbClr val="CB0E14"/>
      </a:accent5>
      <a:accent6>
        <a:srgbClr val="FF6600"/>
      </a:accent6>
      <a:hlink>
        <a:srgbClr val="CB0E14"/>
      </a:hlink>
      <a:folHlink>
        <a:srgbClr val="909090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71D2F1"/>
    </a:custClr>
    <a:custClr name="Linear 6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CD3B6C7C-F15B-47B1-B280-E3B59305230B}" vid="{FFA8EDA0-E9F9-4C65-BDFD-3DBFFF2FF17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</TotalTime>
  <Words>271</Words>
  <Application>Microsoft Office PowerPoint</Application>
  <PresentationFormat>Widescreen</PresentationFormat>
  <Paragraphs>100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Century Gothic</vt:lpstr>
      <vt:lpstr>Georgia</vt:lpstr>
      <vt:lpstr>Segoe UI</vt:lpstr>
      <vt:lpstr>Wingdings</vt:lpstr>
      <vt:lpstr>Office Theme</vt:lpstr>
      <vt:lpstr>1_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fardi_a_pasha</dc:creator>
  <cp:lastModifiedBy>stanley_d_chandra</cp:lastModifiedBy>
  <cp:revision>44</cp:revision>
  <dcterms:created xsi:type="dcterms:W3CDTF">2021-03-02T02:29:07Z</dcterms:created>
  <dcterms:modified xsi:type="dcterms:W3CDTF">2023-01-30T02:1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5caaddc-90a0-4995-b524-c269e4395a58_Enabled">
    <vt:lpwstr>true</vt:lpwstr>
  </property>
  <property fmtid="{D5CDD505-2E9C-101B-9397-08002B2CF9AE}" pid="3" name="MSIP_Label_d5caaddc-90a0-4995-b524-c269e4395a58_SetDate">
    <vt:lpwstr>2022-04-14T08:28:05Z</vt:lpwstr>
  </property>
  <property fmtid="{D5CDD505-2E9C-101B-9397-08002B2CF9AE}" pid="4" name="MSIP_Label_d5caaddc-90a0-4995-b524-c269e4395a58_Method">
    <vt:lpwstr>Standard</vt:lpwstr>
  </property>
  <property fmtid="{D5CDD505-2E9C-101B-9397-08002B2CF9AE}" pid="5" name="MSIP_Label_d5caaddc-90a0-4995-b524-c269e4395a58_Name">
    <vt:lpwstr>Internal</vt:lpwstr>
  </property>
  <property fmtid="{D5CDD505-2E9C-101B-9397-08002B2CF9AE}" pid="6" name="MSIP_Label_d5caaddc-90a0-4995-b524-c269e4395a58_SiteId">
    <vt:lpwstr>fc743075-93ed-4a5c-82c0-ca5eac914220</vt:lpwstr>
  </property>
  <property fmtid="{D5CDD505-2E9C-101B-9397-08002B2CF9AE}" pid="7" name="MSIP_Label_d5caaddc-90a0-4995-b524-c269e4395a58_ActionId">
    <vt:lpwstr>5b938f24-90ba-4548-8bff-9135de444274</vt:lpwstr>
  </property>
  <property fmtid="{D5CDD505-2E9C-101B-9397-08002B2CF9AE}" pid="8" name="MSIP_Label_d5caaddc-90a0-4995-b524-c269e4395a58_ContentBits">
    <vt:lpwstr>2</vt:lpwstr>
  </property>
  <property fmtid="{D5CDD505-2E9C-101B-9397-08002B2CF9AE}" pid="9" name="ClassificationContentMarkingFooterLocations">
    <vt:lpwstr>Office Theme:8\1_White:5</vt:lpwstr>
  </property>
  <property fmtid="{D5CDD505-2E9C-101B-9397-08002B2CF9AE}" pid="10" name="ClassificationContentMarkingFooterText">
    <vt:lpwstr>Internal</vt:lpwstr>
  </property>
</Properties>
</file>